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10693400" cy="7556500"/>
  <p:notesSz cx="6858000" cy="9144000"/>
  <p:embeddedFontLst>
    <p:embeddedFont>
      <p:font typeface="Poppins" panose="00000500000000000000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C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1824" y="8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id="{C1981840-7EF0-4308-BC4B-7488BF7CC207}"/>
              </a:ext>
            </a:extLst>
          </p:cNvPr>
          <p:cNvGrpSpPr/>
          <p:nvPr/>
        </p:nvGrpSpPr>
        <p:grpSpPr>
          <a:xfrm>
            <a:off x="738158" y="658487"/>
            <a:ext cx="9298140" cy="6898013"/>
            <a:chOff x="738158" y="658487"/>
            <a:chExt cx="9298140" cy="6898013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EB199E80-2CAE-C03F-15B9-39BB0018CF61}"/>
                </a:ext>
              </a:extLst>
            </p:cNvPr>
            <p:cNvGrpSpPr/>
            <p:nvPr/>
          </p:nvGrpSpPr>
          <p:grpSpPr>
            <a:xfrm>
              <a:off x="4221670" y="1192604"/>
              <a:ext cx="5174792" cy="5174792"/>
              <a:chOff x="4221670" y="1192604"/>
              <a:chExt cx="5174792" cy="5174792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4221670" y="1192604"/>
                <a:ext cx="5174792" cy="5174792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CF6"/>
              </a:solidFill>
              <a:ln w="9525" cap="sq">
                <a:solidFill>
                  <a:srgbClr val="991C29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5356051" y="2326985"/>
                <a:ext cx="2906030" cy="290603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CF6"/>
              </a:solidFill>
              <a:ln w="9525" cap="sq">
                <a:solidFill>
                  <a:srgbClr val="991C29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AutoShape 8"/>
              <p:cNvSpPr/>
              <p:nvPr/>
            </p:nvSpPr>
            <p:spPr>
              <a:xfrm>
                <a:off x="6187449" y="2981704"/>
                <a:ext cx="621617" cy="798296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AutoShape 9"/>
              <p:cNvSpPr/>
              <p:nvPr/>
            </p:nvSpPr>
            <p:spPr>
              <a:xfrm flipH="1">
                <a:off x="6173968" y="3747577"/>
                <a:ext cx="659486" cy="876729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AutoShape 10"/>
              <p:cNvSpPr/>
              <p:nvPr/>
            </p:nvSpPr>
            <p:spPr>
              <a:xfrm>
                <a:off x="6809066" y="3780001"/>
                <a:ext cx="594809" cy="786640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7706681" y="1559035"/>
                <a:ext cx="11143" cy="482853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8101777" y="5361347"/>
                <a:ext cx="223268" cy="218277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AutoShape 31"/>
              <p:cNvSpPr/>
              <p:nvPr/>
            </p:nvSpPr>
            <p:spPr>
              <a:xfrm flipV="1">
                <a:off x="8249999" y="4997710"/>
                <a:ext cx="539060" cy="0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4" name="AutoShape 44"/>
              <p:cNvSpPr/>
              <p:nvPr/>
            </p:nvSpPr>
            <p:spPr>
              <a:xfrm flipV="1">
                <a:off x="4820671" y="2575536"/>
                <a:ext cx="684888" cy="8075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5" name="AutoShape 45"/>
              <p:cNvSpPr/>
              <p:nvPr/>
            </p:nvSpPr>
            <p:spPr>
              <a:xfrm>
                <a:off x="5305790" y="1992187"/>
                <a:ext cx="199768" cy="205816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6" name="AutoShape 46"/>
              <p:cNvSpPr/>
              <p:nvPr/>
            </p:nvSpPr>
            <p:spPr>
              <a:xfrm flipH="1">
                <a:off x="5885081" y="1558927"/>
                <a:ext cx="16322" cy="492446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8" name="AutoShape 68"/>
              <p:cNvSpPr/>
              <p:nvPr/>
            </p:nvSpPr>
            <p:spPr>
              <a:xfrm flipH="1">
                <a:off x="6809066" y="2976916"/>
                <a:ext cx="607065" cy="803084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9" name="AutoShape 69"/>
              <p:cNvSpPr/>
              <p:nvPr/>
            </p:nvSpPr>
            <p:spPr>
              <a:xfrm flipH="1">
                <a:off x="8101979" y="1980766"/>
                <a:ext cx="222963" cy="217736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0" name="AutoShape 70"/>
              <p:cNvSpPr/>
              <p:nvPr/>
            </p:nvSpPr>
            <p:spPr>
              <a:xfrm flipH="1" flipV="1">
                <a:off x="8157603" y="2568604"/>
                <a:ext cx="635068" cy="9907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1" name="AutoShape 71"/>
              <p:cNvSpPr/>
              <p:nvPr/>
            </p:nvSpPr>
            <p:spPr>
              <a:xfrm flipH="1" flipV="1">
                <a:off x="4817029" y="5007197"/>
                <a:ext cx="530782" cy="12158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2" name="AutoShape 72"/>
              <p:cNvSpPr/>
              <p:nvPr/>
            </p:nvSpPr>
            <p:spPr>
              <a:xfrm flipH="1">
                <a:off x="5313020" y="5395552"/>
                <a:ext cx="183514" cy="180039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3" name="AutoShape 73"/>
              <p:cNvSpPr/>
              <p:nvPr/>
            </p:nvSpPr>
            <p:spPr>
              <a:xfrm>
                <a:off x="5885140" y="5551156"/>
                <a:ext cx="16099" cy="484061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4" name="AutoShape 74"/>
              <p:cNvSpPr/>
              <p:nvPr/>
            </p:nvSpPr>
            <p:spPr>
              <a:xfrm flipH="1">
                <a:off x="7706382" y="5517756"/>
                <a:ext cx="11714" cy="519378"/>
              </a:xfrm>
              <a:prstGeom prst="line">
                <a:avLst/>
              </a:prstGeom>
              <a:ln w="9525" cap="flat">
                <a:solidFill>
                  <a:srgbClr val="991C29"/>
                </a:solidFill>
                <a:prstDash val="sysDash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068DF68D-EEFF-DB13-3252-1D96F8BA4121}"/>
                </a:ext>
              </a:extLst>
            </p:cNvPr>
            <p:cNvGrpSpPr/>
            <p:nvPr/>
          </p:nvGrpSpPr>
          <p:grpSpPr>
            <a:xfrm>
              <a:off x="7209653" y="4477538"/>
              <a:ext cx="2415064" cy="2388026"/>
              <a:chOff x="7209653" y="4477538"/>
              <a:chExt cx="2415064" cy="2388026"/>
            </a:xfrm>
          </p:grpSpPr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145662D2-1B15-C94E-E67C-40B70F736FC9}"/>
                  </a:ext>
                </a:extLst>
              </p:cNvPr>
              <p:cNvGrpSpPr/>
              <p:nvPr/>
            </p:nvGrpSpPr>
            <p:grpSpPr>
              <a:xfrm>
                <a:off x="8789059" y="4583446"/>
                <a:ext cx="835658" cy="828527"/>
                <a:chOff x="8789059" y="4583446"/>
                <a:chExt cx="835658" cy="828527"/>
              </a:xfrm>
            </p:grpSpPr>
            <p:sp>
              <p:nvSpPr>
                <p:cNvPr id="33" name="Freeform 33"/>
                <p:cNvSpPr/>
                <p:nvPr/>
              </p:nvSpPr>
              <p:spPr>
                <a:xfrm rot="5400000">
                  <a:off x="8792624" y="4579881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2" name="TextBox 82"/>
                <p:cNvSpPr txBox="1"/>
                <p:nvPr/>
              </p:nvSpPr>
              <p:spPr>
                <a:xfrm>
                  <a:off x="8897922" y="4889347"/>
                  <a:ext cx="617932" cy="2167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Avoid Distractions</a:t>
                  </a:r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69D05B88-CF8F-EBDC-8B49-F178AA2B61BA}"/>
                  </a:ext>
                </a:extLst>
              </p:cNvPr>
              <p:cNvGrpSpPr/>
              <p:nvPr/>
            </p:nvGrpSpPr>
            <p:grpSpPr>
              <a:xfrm>
                <a:off x="8204733" y="5456225"/>
                <a:ext cx="835658" cy="828527"/>
                <a:chOff x="8204733" y="5456225"/>
                <a:chExt cx="835658" cy="828527"/>
              </a:xfrm>
            </p:grpSpPr>
            <p:sp>
              <p:nvSpPr>
                <p:cNvPr id="36" name="Freeform 36"/>
                <p:cNvSpPr/>
                <p:nvPr/>
              </p:nvSpPr>
              <p:spPr>
                <a:xfrm rot="5400000">
                  <a:off x="8208298" y="5452660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3" name="TextBox 83"/>
                <p:cNvSpPr txBox="1"/>
                <p:nvPr/>
              </p:nvSpPr>
              <p:spPr>
                <a:xfrm>
                  <a:off x="8313596" y="5762126"/>
                  <a:ext cx="617932" cy="2167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Listen to Hunger</a:t>
                  </a:r>
                </a:p>
              </p:txBody>
            </p:sp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4E2FD40C-C4B5-F2E2-ACD3-17B3E1B37966}"/>
                  </a:ext>
                </a:extLst>
              </p:cNvPr>
              <p:cNvGrpSpPr/>
              <p:nvPr/>
            </p:nvGrpSpPr>
            <p:grpSpPr>
              <a:xfrm>
                <a:off x="7279212" y="6037037"/>
                <a:ext cx="835658" cy="828527"/>
                <a:chOff x="7279212" y="6037037"/>
                <a:chExt cx="835658" cy="828527"/>
              </a:xfrm>
            </p:grpSpPr>
            <p:sp>
              <p:nvSpPr>
                <p:cNvPr id="39" name="Freeform 39"/>
                <p:cNvSpPr/>
                <p:nvPr/>
              </p:nvSpPr>
              <p:spPr>
                <a:xfrm rot="5357946">
                  <a:off x="7282777" y="6033472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4" name="TextBox 84"/>
                <p:cNvSpPr txBox="1"/>
                <p:nvPr/>
              </p:nvSpPr>
              <p:spPr>
                <a:xfrm>
                  <a:off x="7388075" y="6342938"/>
                  <a:ext cx="617932" cy="2167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Eat Slowly, Enjoy</a:t>
                  </a:r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175428D6-1242-C8F7-1F10-035D20D328F5}"/>
                  </a:ext>
                </a:extLst>
              </p:cNvPr>
              <p:cNvGrpSpPr/>
              <p:nvPr/>
            </p:nvGrpSpPr>
            <p:grpSpPr>
              <a:xfrm>
                <a:off x="7209653" y="4477538"/>
                <a:ext cx="1040345" cy="1040345"/>
                <a:chOff x="7209653" y="4477538"/>
                <a:chExt cx="1040345" cy="1040345"/>
              </a:xfrm>
            </p:grpSpPr>
            <p:sp>
              <p:nvSpPr>
                <p:cNvPr id="28" name="Freeform 28"/>
                <p:cNvSpPr/>
                <p:nvPr/>
              </p:nvSpPr>
              <p:spPr>
                <a:xfrm rot="5357946">
                  <a:off x="7209653" y="4477538"/>
                  <a:ext cx="1040345" cy="1040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991C29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6" name="TextBox 96"/>
                <p:cNvSpPr txBox="1"/>
                <p:nvPr/>
              </p:nvSpPr>
              <p:spPr>
                <a:xfrm>
                  <a:off x="7341871" y="4788005"/>
                  <a:ext cx="775910" cy="4194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2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MINDFUL EATING PRACTICES</a:t>
                  </a:r>
                </a:p>
              </p:txBody>
            </p:sp>
          </p:grp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3998F9A7-74CA-77D2-5434-0C8608B80DC0}"/>
                </a:ext>
              </a:extLst>
            </p:cNvPr>
            <p:cNvGrpSpPr/>
            <p:nvPr/>
          </p:nvGrpSpPr>
          <p:grpSpPr>
            <a:xfrm>
              <a:off x="3988606" y="4511093"/>
              <a:ext cx="2399416" cy="2359552"/>
              <a:chOff x="3988606" y="4511093"/>
              <a:chExt cx="2399416" cy="2359552"/>
            </a:xfrm>
          </p:grpSpPr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D387870F-A75D-83E9-96BC-337ACA276E35}"/>
                  </a:ext>
                </a:extLst>
              </p:cNvPr>
              <p:cNvGrpSpPr/>
              <p:nvPr/>
            </p:nvGrpSpPr>
            <p:grpSpPr>
              <a:xfrm>
                <a:off x="5500864" y="6034987"/>
                <a:ext cx="828527" cy="835658"/>
                <a:chOff x="5500864" y="6034987"/>
                <a:chExt cx="828527" cy="835658"/>
              </a:xfrm>
            </p:grpSpPr>
            <p:sp>
              <p:nvSpPr>
                <p:cNvPr id="60" name="Freeform 60"/>
                <p:cNvSpPr/>
                <p:nvPr/>
              </p:nvSpPr>
              <p:spPr>
                <a:xfrm rot="10800000">
                  <a:off x="5500864" y="6034987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9" name="TextBox 89"/>
                <p:cNvSpPr txBox="1"/>
                <p:nvPr/>
              </p:nvSpPr>
              <p:spPr>
                <a:xfrm>
                  <a:off x="5606161" y="6292653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Unprocessed Food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Options</a:t>
                  </a: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FF5330FC-3015-5C88-37C5-7B0AC8A1E5CA}"/>
                  </a:ext>
                </a:extLst>
              </p:cNvPr>
              <p:cNvGrpSpPr/>
              <p:nvPr/>
            </p:nvGrpSpPr>
            <p:grpSpPr>
              <a:xfrm>
                <a:off x="4601802" y="5449095"/>
                <a:ext cx="828527" cy="835658"/>
                <a:chOff x="4601802" y="5449095"/>
                <a:chExt cx="828527" cy="835658"/>
              </a:xfrm>
            </p:grpSpPr>
            <p:sp>
              <p:nvSpPr>
                <p:cNvPr id="63" name="Freeform 63"/>
                <p:cNvSpPr/>
                <p:nvPr/>
              </p:nvSpPr>
              <p:spPr>
                <a:xfrm rot="10800000">
                  <a:off x="4601802" y="5449095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0" name="TextBox 90"/>
                <p:cNvSpPr txBox="1"/>
                <p:nvPr/>
              </p:nvSpPr>
              <p:spPr>
                <a:xfrm>
                  <a:off x="4707100" y="5706761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Leafy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Green Vegetables</a:t>
                  </a:r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8CD2CE71-5F32-4312-32BB-2F51D9F8F551}"/>
                  </a:ext>
                </a:extLst>
              </p:cNvPr>
              <p:cNvGrpSpPr/>
              <p:nvPr/>
            </p:nvGrpSpPr>
            <p:grpSpPr>
              <a:xfrm>
                <a:off x="3988606" y="4579881"/>
                <a:ext cx="828527" cy="835658"/>
                <a:chOff x="3988606" y="4579881"/>
                <a:chExt cx="828527" cy="835658"/>
              </a:xfrm>
            </p:grpSpPr>
            <p:sp>
              <p:nvSpPr>
                <p:cNvPr id="66" name="Freeform 66"/>
                <p:cNvSpPr/>
                <p:nvPr/>
              </p:nvSpPr>
              <p:spPr>
                <a:xfrm rot="10800000">
                  <a:off x="3988606" y="4579881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1" name="TextBox 91"/>
                <p:cNvSpPr txBox="1"/>
                <p:nvPr/>
              </p:nvSpPr>
              <p:spPr>
                <a:xfrm>
                  <a:off x="4093904" y="4837547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Fresh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Fruits Regularly</a:t>
                  </a:r>
                </a:p>
              </p:txBody>
            </p:sp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BF59E64A-CE4E-362F-F4AA-E6BCD98B55FE}"/>
                  </a:ext>
                </a:extLst>
              </p:cNvPr>
              <p:cNvGrpSpPr/>
              <p:nvPr/>
            </p:nvGrpSpPr>
            <p:grpSpPr>
              <a:xfrm>
                <a:off x="5347677" y="4511093"/>
                <a:ext cx="1040345" cy="1040345"/>
                <a:chOff x="5347677" y="4511093"/>
                <a:chExt cx="1040345" cy="1040345"/>
              </a:xfrm>
            </p:grpSpPr>
            <p:sp>
              <p:nvSpPr>
                <p:cNvPr id="57" name="Freeform 57"/>
                <p:cNvSpPr/>
                <p:nvPr/>
              </p:nvSpPr>
              <p:spPr>
                <a:xfrm rot="10800000">
                  <a:off x="5347677" y="4511093"/>
                  <a:ext cx="1040345" cy="1040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991C29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7" name="TextBox 97"/>
                <p:cNvSpPr txBox="1"/>
                <p:nvPr/>
              </p:nvSpPr>
              <p:spPr>
                <a:xfrm>
                  <a:off x="5479895" y="4821560"/>
                  <a:ext cx="775910" cy="4194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52"/>
                    </a:lnSpc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WHOLE </a:t>
                  </a:r>
                </a:p>
                <a:p>
                  <a:pPr marL="0" lvl="0" indent="0" algn="ctr">
                    <a:lnSpc>
                      <a:spcPts val="1052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FOOD CHOICES</a:t>
                  </a:r>
                </a:p>
              </p:txBody>
            </p:sp>
          </p:grpSp>
        </p:grp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C82A9523-02B3-4388-0982-854E68216BED}"/>
                </a:ext>
              </a:extLst>
            </p:cNvPr>
            <p:cNvGrpSpPr/>
            <p:nvPr/>
          </p:nvGrpSpPr>
          <p:grpSpPr>
            <a:xfrm>
              <a:off x="7209653" y="723489"/>
              <a:ext cx="2411498" cy="2358614"/>
              <a:chOff x="7209653" y="723489"/>
              <a:chExt cx="2411498" cy="2358614"/>
            </a:xfrm>
          </p:grpSpPr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FA5B6685-8D18-898A-7703-1029BA8EE772}"/>
                  </a:ext>
                </a:extLst>
              </p:cNvPr>
              <p:cNvGrpSpPr/>
              <p:nvPr/>
            </p:nvGrpSpPr>
            <p:grpSpPr>
              <a:xfrm>
                <a:off x="7282777" y="723489"/>
                <a:ext cx="828527" cy="835658"/>
                <a:chOff x="7282777" y="723489"/>
                <a:chExt cx="828527" cy="835658"/>
              </a:xfrm>
            </p:grpSpPr>
            <p:sp>
              <p:nvSpPr>
                <p:cNvPr id="19" name="Freeform 19"/>
                <p:cNvSpPr/>
                <p:nvPr/>
              </p:nvSpPr>
              <p:spPr>
                <a:xfrm>
                  <a:off x="7282777" y="723489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9" name="TextBox 79"/>
                <p:cNvSpPr txBox="1"/>
                <p:nvPr/>
              </p:nvSpPr>
              <p:spPr>
                <a:xfrm rot="62255">
                  <a:off x="7388075" y="981154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Use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Smaller Plates</a:t>
                  </a:r>
                </a:p>
              </p:txBody>
            </p:sp>
          </p:grpSp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B934E2D5-5ECE-9994-F0EA-77FCA3999562}"/>
                  </a:ext>
                </a:extLst>
              </p:cNvPr>
              <p:cNvGrpSpPr/>
              <p:nvPr/>
            </p:nvGrpSpPr>
            <p:grpSpPr>
              <a:xfrm>
                <a:off x="8208298" y="1272295"/>
                <a:ext cx="828527" cy="835658"/>
                <a:chOff x="8208298" y="1272295"/>
                <a:chExt cx="828527" cy="835658"/>
              </a:xfrm>
            </p:grpSpPr>
            <p:sp>
              <p:nvSpPr>
                <p:cNvPr id="22" name="Freeform 22"/>
                <p:cNvSpPr/>
                <p:nvPr/>
              </p:nvSpPr>
              <p:spPr>
                <a:xfrm>
                  <a:off x="8208298" y="1272295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0" name="TextBox 80"/>
                <p:cNvSpPr txBox="1"/>
                <p:nvPr/>
              </p:nvSpPr>
              <p:spPr>
                <a:xfrm>
                  <a:off x="8313596" y="1529960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Measure Serving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Sizes</a:t>
                  </a:r>
                </a:p>
              </p:txBody>
            </p:sp>
          </p:grp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C94A5231-A22F-5D7A-9226-0B4B5A75754C}"/>
                  </a:ext>
                </a:extLst>
              </p:cNvPr>
              <p:cNvGrpSpPr/>
              <p:nvPr/>
            </p:nvGrpSpPr>
            <p:grpSpPr>
              <a:xfrm>
                <a:off x="8792624" y="2167144"/>
                <a:ext cx="828527" cy="835658"/>
                <a:chOff x="8792624" y="2167144"/>
                <a:chExt cx="828527" cy="835658"/>
              </a:xfrm>
            </p:grpSpPr>
            <p:sp>
              <p:nvSpPr>
                <p:cNvPr id="25" name="Freeform 25"/>
                <p:cNvSpPr/>
                <p:nvPr/>
              </p:nvSpPr>
              <p:spPr>
                <a:xfrm>
                  <a:off x="8792624" y="2167144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1" name="TextBox 81"/>
                <p:cNvSpPr txBox="1"/>
                <p:nvPr/>
              </p:nvSpPr>
              <p:spPr>
                <a:xfrm>
                  <a:off x="8897922" y="2424810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Mindful Eating Portions</a:t>
                  </a:r>
                </a:p>
              </p:txBody>
            </p:sp>
          </p:grp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984C4E04-413C-1863-F23C-B700B9075EC3}"/>
                  </a:ext>
                </a:extLst>
              </p:cNvPr>
              <p:cNvGrpSpPr/>
              <p:nvPr/>
            </p:nvGrpSpPr>
            <p:grpSpPr>
              <a:xfrm>
                <a:off x="7209653" y="2041758"/>
                <a:ext cx="1040345" cy="1040345"/>
                <a:chOff x="7209653" y="2041758"/>
                <a:chExt cx="1040345" cy="1040345"/>
              </a:xfrm>
            </p:grpSpPr>
            <p:sp>
              <p:nvSpPr>
                <p:cNvPr id="15" name="Freeform 15"/>
                <p:cNvSpPr/>
                <p:nvPr/>
              </p:nvSpPr>
              <p:spPr>
                <a:xfrm rot="62255">
                  <a:off x="7209653" y="2041758"/>
                  <a:ext cx="1040345" cy="1040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991C29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5" name="TextBox 95"/>
                <p:cNvSpPr txBox="1"/>
                <p:nvPr/>
              </p:nvSpPr>
              <p:spPr>
                <a:xfrm>
                  <a:off x="7341871" y="2352225"/>
                  <a:ext cx="775910" cy="41941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2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PORTION CONTROL TECHNIQUES</a:t>
                  </a:r>
                </a:p>
              </p:txBody>
            </p:sp>
          </p:grp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AC97110D-CE6D-2E35-D06D-4244E7BC4709}"/>
                </a:ext>
              </a:extLst>
            </p:cNvPr>
            <p:cNvGrpSpPr/>
            <p:nvPr/>
          </p:nvGrpSpPr>
          <p:grpSpPr>
            <a:xfrm>
              <a:off x="3985041" y="730619"/>
              <a:ext cx="2402981" cy="2360819"/>
              <a:chOff x="3985041" y="730619"/>
              <a:chExt cx="2402981" cy="2360819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A3CA23C1-A2DF-0E75-8B8A-837F3527BC4D}"/>
                  </a:ext>
                </a:extLst>
              </p:cNvPr>
              <p:cNvGrpSpPr/>
              <p:nvPr/>
            </p:nvGrpSpPr>
            <p:grpSpPr>
              <a:xfrm>
                <a:off x="5347677" y="2051093"/>
                <a:ext cx="1040345" cy="1040345"/>
                <a:chOff x="5347677" y="2051093"/>
                <a:chExt cx="1040345" cy="1040345"/>
              </a:xfrm>
            </p:grpSpPr>
            <p:sp>
              <p:nvSpPr>
                <p:cNvPr id="42" name="Freeform 42"/>
                <p:cNvSpPr/>
                <p:nvPr/>
              </p:nvSpPr>
              <p:spPr>
                <a:xfrm rot="16200000">
                  <a:off x="5347677" y="2051093"/>
                  <a:ext cx="1040345" cy="10403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991C29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5" name="TextBox 85"/>
                <p:cNvSpPr txBox="1"/>
                <p:nvPr/>
              </p:nvSpPr>
              <p:spPr>
                <a:xfrm>
                  <a:off x="5479895" y="2361144"/>
                  <a:ext cx="775910" cy="42024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52"/>
                    </a:lnSpc>
                    <a:spcBef>
                      <a:spcPct val="0"/>
                    </a:spcBef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Poppins" panose="00000500000000000000" pitchFamily="2" charset="0"/>
                    </a:rPr>
                    <a:t>BALANCED NUTRITION PLATE</a:t>
                  </a:r>
                </a:p>
              </p:txBody>
            </p:sp>
          </p:grp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FC9FFF23-6991-4658-A65D-CEB98B6637E0}"/>
                  </a:ext>
                </a:extLst>
              </p:cNvPr>
              <p:cNvGrpSpPr/>
              <p:nvPr/>
            </p:nvGrpSpPr>
            <p:grpSpPr>
              <a:xfrm>
                <a:off x="3985041" y="2174275"/>
                <a:ext cx="835658" cy="828527"/>
                <a:chOff x="3985041" y="2174275"/>
                <a:chExt cx="835658" cy="828527"/>
              </a:xfrm>
            </p:grpSpPr>
            <p:sp>
              <p:nvSpPr>
                <p:cNvPr id="48" name="Freeform 48"/>
                <p:cNvSpPr/>
                <p:nvPr/>
              </p:nvSpPr>
              <p:spPr>
                <a:xfrm rot="16200000">
                  <a:off x="3988606" y="2170710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6" name="TextBox 86"/>
                <p:cNvSpPr txBox="1"/>
                <p:nvPr/>
              </p:nvSpPr>
              <p:spPr>
                <a:xfrm>
                  <a:off x="4093904" y="2428202"/>
                  <a:ext cx="617932" cy="3206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839"/>
                    </a:lnSpc>
                  </a:pPr>
                  <a:r>
                    <a:rPr lang="en-US" sz="699" dirty="0">
                      <a:solidFill>
                        <a:srgbClr val="000000"/>
                      </a:solidFill>
                      <a:latin typeface="Poppins"/>
                    </a:rPr>
                    <a:t>Whole </a:t>
                  </a:r>
                </a:p>
                <a:p>
                  <a:pPr algn="ctr">
                    <a:lnSpc>
                      <a:spcPts val="839"/>
                    </a:lnSpc>
                  </a:pPr>
                  <a:r>
                    <a:rPr lang="en-US" sz="699" dirty="0">
                      <a:solidFill>
                        <a:srgbClr val="000000"/>
                      </a:solidFill>
                      <a:latin typeface="Poppins"/>
                    </a:rPr>
                    <a:t>Grain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dirty="0">
                      <a:solidFill>
                        <a:srgbClr val="000000"/>
                      </a:solidFill>
                      <a:latin typeface="Poppins"/>
                    </a:rPr>
                    <a:t>Options</a:t>
                  </a:r>
                </a:p>
              </p:txBody>
            </p:sp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0FB68BBE-A4DB-F49D-A27C-489BB40675EE}"/>
                  </a:ext>
                </a:extLst>
              </p:cNvPr>
              <p:cNvGrpSpPr/>
              <p:nvPr/>
            </p:nvGrpSpPr>
            <p:grpSpPr>
              <a:xfrm>
                <a:off x="4598237" y="1279426"/>
                <a:ext cx="835658" cy="828527"/>
                <a:chOff x="4598237" y="1279426"/>
                <a:chExt cx="835658" cy="828527"/>
              </a:xfrm>
            </p:grpSpPr>
            <p:sp>
              <p:nvSpPr>
                <p:cNvPr id="51" name="Freeform 51"/>
                <p:cNvSpPr/>
                <p:nvPr/>
              </p:nvSpPr>
              <p:spPr>
                <a:xfrm rot="16200000">
                  <a:off x="4601802" y="1275861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7" name="TextBox 87"/>
                <p:cNvSpPr txBox="1"/>
                <p:nvPr/>
              </p:nvSpPr>
              <p:spPr>
                <a:xfrm>
                  <a:off x="4707100" y="1533527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Lean </a:t>
                  </a:r>
                </a:p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Protein Sources</a:t>
                  </a:r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13BEDC73-65C0-DCA4-6E9A-2CABB4A3B494}"/>
                  </a:ext>
                </a:extLst>
              </p:cNvPr>
              <p:cNvGrpSpPr/>
              <p:nvPr/>
            </p:nvGrpSpPr>
            <p:grpSpPr>
              <a:xfrm>
                <a:off x="5497299" y="730619"/>
                <a:ext cx="835658" cy="828527"/>
                <a:chOff x="5497299" y="730619"/>
                <a:chExt cx="835658" cy="828527"/>
              </a:xfrm>
            </p:grpSpPr>
            <p:sp>
              <p:nvSpPr>
                <p:cNvPr id="54" name="Freeform 54"/>
                <p:cNvSpPr/>
                <p:nvPr/>
              </p:nvSpPr>
              <p:spPr>
                <a:xfrm rot="16200000">
                  <a:off x="5500864" y="727054"/>
                  <a:ext cx="828527" cy="8356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9795">
                      <a:moveTo>
                        <a:pt x="406400" y="0"/>
                      </a:moveTo>
                      <a:cubicBezTo>
                        <a:pt x="181951" y="0"/>
                        <a:pt x="0" y="183517"/>
                        <a:pt x="0" y="409898"/>
                      </a:cubicBezTo>
                      <a:cubicBezTo>
                        <a:pt x="0" y="636278"/>
                        <a:pt x="181951" y="819795"/>
                        <a:pt x="406400" y="819795"/>
                      </a:cubicBezTo>
                      <a:cubicBezTo>
                        <a:pt x="630849" y="819795"/>
                        <a:pt x="812800" y="636278"/>
                        <a:pt x="812800" y="409898"/>
                      </a:cubicBezTo>
                      <a:cubicBezTo>
                        <a:pt x="812800" y="183517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991C29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8" name="TextBox 88"/>
                <p:cNvSpPr txBox="1"/>
                <p:nvPr/>
              </p:nvSpPr>
              <p:spPr>
                <a:xfrm>
                  <a:off x="5606161" y="984720"/>
                  <a:ext cx="617932" cy="32032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839"/>
                    </a:lnSpc>
                    <a:spcBef>
                      <a:spcPct val="0"/>
                    </a:spcBef>
                  </a:pPr>
                  <a:r>
                    <a:rPr lang="en-US" sz="699" u="none" strike="noStrike" dirty="0">
                      <a:solidFill>
                        <a:srgbClr val="000000"/>
                      </a:solidFill>
                      <a:latin typeface="Poppins"/>
                    </a:rPr>
                    <a:t>Include Vegetables Daily</a:t>
                  </a:r>
                </a:p>
              </p:txBody>
            </p:sp>
          </p:grp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B27C7ECA-7AEE-9E28-EFA8-DC80CD5C299E}"/>
                </a:ext>
              </a:extLst>
            </p:cNvPr>
            <p:cNvGrpSpPr/>
            <p:nvPr/>
          </p:nvGrpSpPr>
          <p:grpSpPr>
            <a:xfrm>
              <a:off x="6202989" y="3171541"/>
              <a:ext cx="1212154" cy="1216558"/>
              <a:chOff x="6202989" y="3171721"/>
              <a:chExt cx="1212154" cy="1216558"/>
            </a:xfrm>
          </p:grpSpPr>
          <p:sp>
            <p:nvSpPr>
              <p:cNvPr id="12" name="Freeform 12"/>
              <p:cNvSpPr/>
              <p:nvPr/>
            </p:nvSpPr>
            <p:spPr>
              <a:xfrm>
                <a:off x="6202989" y="3171721"/>
                <a:ext cx="1212154" cy="121655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5753">
                    <a:moveTo>
                      <a:pt x="406400" y="0"/>
                    </a:moveTo>
                    <a:cubicBezTo>
                      <a:pt x="181951" y="0"/>
                      <a:pt x="0" y="182613"/>
                      <a:pt x="0" y="407877"/>
                    </a:cubicBezTo>
                    <a:cubicBezTo>
                      <a:pt x="0" y="633141"/>
                      <a:pt x="181951" y="815753"/>
                      <a:pt x="406400" y="815753"/>
                    </a:cubicBezTo>
                    <a:cubicBezTo>
                      <a:pt x="630849" y="815753"/>
                      <a:pt x="812800" y="633141"/>
                      <a:pt x="812800" y="407877"/>
                    </a:cubicBezTo>
                    <a:cubicBezTo>
                      <a:pt x="812800" y="182613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991C29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3" name="TextBox 93"/>
              <p:cNvSpPr txBox="1"/>
              <p:nvPr/>
            </p:nvSpPr>
            <p:spPr>
              <a:xfrm>
                <a:off x="6422704" y="3611279"/>
                <a:ext cx="772723" cy="19764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536"/>
                  </a:lnSpc>
                  <a:spcBef>
                    <a:spcPct val="0"/>
                  </a:spcBef>
                </a:pPr>
                <a:r>
                  <a:rPr lang="en-US" sz="13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HEALTHY </a:t>
                </a:r>
              </a:p>
            </p:txBody>
          </p:sp>
          <p:sp>
            <p:nvSpPr>
              <p:cNvPr id="94" name="TextBox 94"/>
              <p:cNvSpPr txBox="1"/>
              <p:nvPr/>
            </p:nvSpPr>
            <p:spPr>
              <a:xfrm>
                <a:off x="6320982" y="3808923"/>
                <a:ext cx="976167" cy="13265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44"/>
                  </a:lnSpc>
                  <a:spcBef>
                    <a:spcPct val="0"/>
                  </a:spcBef>
                </a:pPr>
                <a:r>
                  <a:rPr lang="en-US" sz="9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 EATING HABITS</a:t>
                </a:r>
              </a:p>
            </p:txBody>
          </p:sp>
        </p:grpSp>
        <p:sp>
          <p:nvSpPr>
            <p:cNvPr id="77" name="Freeform 77"/>
            <p:cNvSpPr/>
            <p:nvPr/>
          </p:nvSpPr>
          <p:spPr>
            <a:xfrm>
              <a:off x="756000" y="4587499"/>
              <a:ext cx="2264220" cy="2969001"/>
            </a:xfrm>
            <a:custGeom>
              <a:avLst/>
              <a:gdLst/>
              <a:ahLst/>
              <a:cxnLst/>
              <a:rect l="l" t="t" r="r" b="b"/>
              <a:pathLst>
                <a:path w="2264220" h="3024000">
                  <a:moveTo>
                    <a:pt x="0" y="0"/>
                  </a:moveTo>
                  <a:lnTo>
                    <a:pt x="2264220" y="0"/>
                  </a:lnTo>
                  <a:lnTo>
                    <a:pt x="2264220" y="3024000"/>
                  </a:lnTo>
                  <a:lnTo>
                    <a:pt x="0" y="302400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5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 b="-1852"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A4F8302D-15CF-A893-D5F6-3B514198ECC6}"/>
                </a:ext>
              </a:extLst>
            </p:cNvPr>
            <p:cNvGrpSpPr/>
            <p:nvPr/>
          </p:nvGrpSpPr>
          <p:grpSpPr>
            <a:xfrm>
              <a:off x="738158" y="658487"/>
              <a:ext cx="2188104" cy="1066942"/>
              <a:chOff x="738158" y="658487"/>
              <a:chExt cx="2188104" cy="1066942"/>
            </a:xfrm>
          </p:grpSpPr>
          <p:sp>
            <p:nvSpPr>
              <p:cNvPr id="75" name="TextBox 75"/>
              <p:cNvSpPr txBox="1"/>
              <p:nvPr/>
            </p:nvSpPr>
            <p:spPr>
              <a:xfrm>
                <a:off x="756000" y="658487"/>
                <a:ext cx="775910" cy="13811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052"/>
                  </a:lnSpc>
                  <a:spcBef>
                    <a:spcPct val="0"/>
                  </a:spcBef>
                </a:pPr>
                <a:r>
                  <a:rPr lang="en-US" sz="900" b="1" dirty="0">
                    <a:solidFill>
                      <a:srgbClr val="991C29"/>
                    </a:solidFill>
                    <a:latin typeface="Poppins" panose="00000500000000000000" pitchFamily="2" charset="0"/>
                  </a:rPr>
                  <a:t>HEALTH.</a:t>
                </a:r>
              </a:p>
            </p:txBody>
          </p:sp>
          <p:sp>
            <p:nvSpPr>
              <p:cNvPr id="76" name="TextBox 76"/>
              <p:cNvSpPr txBox="1"/>
              <p:nvPr/>
            </p:nvSpPr>
            <p:spPr>
              <a:xfrm>
                <a:off x="738158" y="916618"/>
                <a:ext cx="2188104" cy="8088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3141"/>
                  </a:lnSpc>
                </a:pPr>
                <a:r>
                  <a:rPr lang="en-US" sz="3150" b="1" dirty="0">
                    <a:solidFill>
                      <a:srgbClr val="991C29"/>
                    </a:solidFill>
                    <a:latin typeface="Poppins" panose="00000500000000000000" pitchFamily="2" charset="0"/>
                  </a:rPr>
                  <a:t>Bubble Mind map</a:t>
                </a:r>
              </a:p>
            </p:txBody>
          </p:sp>
        </p:grpSp>
        <p:sp>
          <p:nvSpPr>
            <p:cNvPr id="78" name="TemplateLAB"/>
            <p:cNvSpPr/>
            <p:nvPr/>
          </p:nvSpPr>
          <p:spPr>
            <a:xfrm rot="-5400000">
              <a:off x="9682214" y="3729851"/>
              <a:ext cx="607870" cy="100299"/>
            </a:xfrm>
            <a:custGeom>
              <a:avLst/>
              <a:gdLst/>
              <a:ahLst/>
              <a:cxnLst/>
              <a:rect l="l" t="t" r="r" b="b"/>
              <a:pathLst>
                <a:path w="607870" h="100299">
                  <a:moveTo>
                    <a:pt x="0" y="0"/>
                  </a:moveTo>
                  <a:lnTo>
                    <a:pt x="607870" y="0"/>
                  </a:lnTo>
                  <a:lnTo>
                    <a:pt x="607870" y="100298"/>
                  </a:lnTo>
                  <a:lnTo>
                    <a:pt x="0" y="10029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57</Words>
  <Application>Microsoft Office PowerPoint</Application>
  <PresentationFormat>Custom</PresentationFormat>
  <Paragraphs>2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Poppins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Mindmap template</dc:title>
  <dc:creator>Hoang Anh</dc:creator>
  <cp:lastModifiedBy>Hoang Anh</cp:lastModifiedBy>
  <cp:revision>20</cp:revision>
  <dcterms:created xsi:type="dcterms:W3CDTF">2006-08-16T00:00:00Z</dcterms:created>
  <dcterms:modified xsi:type="dcterms:W3CDTF">2024-02-08T11:14:33Z</dcterms:modified>
  <dc:identifier>DAF8F5adHPs</dc:identifier>
</cp:coreProperties>
</file>